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421" r:id="rId5"/>
    <p:sldId id="451" r:id="rId6"/>
    <p:sldId id="449" r:id="rId7"/>
    <p:sldId id="452" r:id="rId8"/>
    <p:sldId id="453" r:id="rId9"/>
    <p:sldId id="454" r:id="rId10"/>
    <p:sldId id="422" r:id="rId11"/>
    <p:sldId id="450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562"/>
    <a:srgbClr val="941914"/>
    <a:srgbClr val="6A2926"/>
    <a:srgbClr val="C63228"/>
    <a:srgbClr val="442A26"/>
    <a:srgbClr val="AE2C26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BA7999-2070-29EF-E206-6CED1FF2845D}" v="4580" dt="2023-06-26T14:04:49.3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24"/>
  </p:normalViewPr>
  <p:slideViewPr>
    <p:cSldViewPr snapToGrid="0">
      <p:cViewPr varScale="1">
        <p:scale>
          <a:sx n="81" d="100"/>
          <a:sy n="81" d="100"/>
        </p:scale>
        <p:origin x="82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avier Arola" userId="7602816b-230a-426e-8eaf-9f7c32eee040" providerId="ADAL" clId="{CF6C1BE8-E1DF-4D2B-A26B-E419D1D72758}"/>
    <pc:docChg chg="delSld">
      <pc:chgData name="Xavier Arola" userId="7602816b-230a-426e-8eaf-9f7c32eee040" providerId="ADAL" clId="{CF6C1BE8-E1DF-4D2B-A26B-E419D1D72758}" dt="2022-09-22T07:50:56.687" v="33" actId="47"/>
      <pc:docMkLst>
        <pc:docMk/>
      </pc:docMkLst>
      <pc:sldChg chg="del">
        <pc:chgData name="Xavier Arola" userId="7602816b-230a-426e-8eaf-9f7c32eee040" providerId="ADAL" clId="{CF6C1BE8-E1DF-4D2B-A26B-E419D1D72758}" dt="2022-09-22T07:50:23.320" v="0" actId="47"/>
        <pc:sldMkLst>
          <pc:docMk/>
          <pc:sldMk cId="3670432766" sldId="273"/>
        </pc:sldMkLst>
      </pc:sldChg>
      <pc:sldChg chg="del">
        <pc:chgData name="Xavier Arola" userId="7602816b-230a-426e-8eaf-9f7c32eee040" providerId="ADAL" clId="{CF6C1BE8-E1DF-4D2B-A26B-E419D1D72758}" dt="2022-09-22T07:50:26.874" v="1" actId="47"/>
        <pc:sldMkLst>
          <pc:docMk/>
          <pc:sldMk cId="4015942665" sldId="321"/>
        </pc:sldMkLst>
      </pc:sldChg>
      <pc:sldChg chg="del">
        <pc:chgData name="Xavier Arola" userId="7602816b-230a-426e-8eaf-9f7c32eee040" providerId="ADAL" clId="{CF6C1BE8-E1DF-4D2B-A26B-E419D1D72758}" dt="2022-09-22T07:50:32.076" v="8" actId="47"/>
        <pc:sldMkLst>
          <pc:docMk/>
          <pc:sldMk cId="2508679717" sldId="322"/>
        </pc:sldMkLst>
      </pc:sldChg>
      <pc:sldChg chg="del">
        <pc:chgData name="Xavier Arola" userId="7602816b-230a-426e-8eaf-9f7c32eee040" providerId="ADAL" clId="{CF6C1BE8-E1DF-4D2B-A26B-E419D1D72758}" dt="2022-09-22T07:50:33.346" v="10" actId="47"/>
        <pc:sldMkLst>
          <pc:docMk/>
          <pc:sldMk cId="681450906" sldId="327"/>
        </pc:sldMkLst>
      </pc:sldChg>
      <pc:sldChg chg="del">
        <pc:chgData name="Xavier Arola" userId="7602816b-230a-426e-8eaf-9f7c32eee040" providerId="ADAL" clId="{CF6C1BE8-E1DF-4D2B-A26B-E419D1D72758}" dt="2022-09-22T07:50:34.409" v="11" actId="47"/>
        <pc:sldMkLst>
          <pc:docMk/>
          <pc:sldMk cId="1051914820" sldId="329"/>
        </pc:sldMkLst>
      </pc:sldChg>
      <pc:sldChg chg="del">
        <pc:chgData name="Xavier Arola" userId="7602816b-230a-426e-8eaf-9f7c32eee040" providerId="ADAL" clId="{CF6C1BE8-E1DF-4D2B-A26B-E419D1D72758}" dt="2022-09-22T07:50:34.846" v="12" actId="47"/>
        <pc:sldMkLst>
          <pc:docMk/>
          <pc:sldMk cId="4109025874" sldId="332"/>
        </pc:sldMkLst>
      </pc:sldChg>
      <pc:sldChg chg="del">
        <pc:chgData name="Xavier Arola" userId="7602816b-230a-426e-8eaf-9f7c32eee040" providerId="ADAL" clId="{CF6C1BE8-E1DF-4D2B-A26B-E419D1D72758}" dt="2022-09-22T07:50:43.860" v="22" actId="47"/>
        <pc:sldMkLst>
          <pc:docMk/>
          <pc:sldMk cId="4137926027" sldId="334"/>
        </pc:sldMkLst>
      </pc:sldChg>
      <pc:sldChg chg="del">
        <pc:chgData name="Xavier Arola" userId="7602816b-230a-426e-8eaf-9f7c32eee040" providerId="ADAL" clId="{CF6C1BE8-E1DF-4D2B-A26B-E419D1D72758}" dt="2022-09-22T07:50:48.366" v="27" actId="47"/>
        <pc:sldMkLst>
          <pc:docMk/>
          <pc:sldMk cId="1879869196" sldId="336"/>
        </pc:sldMkLst>
      </pc:sldChg>
      <pc:sldChg chg="del">
        <pc:chgData name="Xavier Arola" userId="7602816b-230a-426e-8eaf-9f7c32eee040" providerId="ADAL" clId="{CF6C1BE8-E1DF-4D2B-A26B-E419D1D72758}" dt="2022-09-22T07:50:55.777" v="32" actId="47"/>
        <pc:sldMkLst>
          <pc:docMk/>
          <pc:sldMk cId="2339917030" sldId="342"/>
        </pc:sldMkLst>
      </pc:sldChg>
      <pc:sldChg chg="del">
        <pc:chgData name="Xavier Arola" userId="7602816b-230a-426e-8eaf-9f7c32eee040" providerId="ADAL" clId="{CF6C1BE8-E1DF-4D2B-A26B-E419D1D72758}" dt="2022-09-22T07:50:31.489" v="7" actId="47"/>
        <pc:sldMkLst>
          <pc:docMk/>
          <pc:sldMk cId="2653986183" sldId="349"/>
        </pc:sldMkLst>
      </pc:sldChg>
      <pc:sldChg chg="del">
        <pc:chgData name="Xavier Arola" userId="7602816b-230a-426e-8eaf-9f7c32eee040" providerId="ADAL" clId="{CF6C1BE8-E1DF-4D2B-A26B-E419D1D72758}" dt="2022-09-22T07:50:27.493" v="2" actId="47"/>
        <pc:sldMkLst>
          <pc:docMk/>
          <pc:sldMk cId="832374616" sldId="362"/>
        </pc:sldMkLst>
      </pc:sldChg>
      <pc:sldChg chg="del">
        <pc:chgData name="Xavier Arola" userId="7602816b-230a-426e-8eaf-9f7c32eee040" providerId="ADAL" clId="{CF6C1BE8-E1DF-4D2B-A26B-E419D1D72758}" dt="2022-09-22T07:50:39.459" v="19" actId="47"/>
        <pc:sldMkLst>
          <pc:docMk/>
          <pc:sldMk cId="95662443" sldId="364"/>
        </pc:sldMkLst>
      </pc:sldChg>
      <pc:sldChg chg="del">
        <pc:chgData name="Xavier Arola" userId="7602816b-230a-426e-8eaf-9f7c32eee040" providerId="ADAL" clId="{CF6C1BE8-E1DF-4D2B-A26B-E419D1D72758}" dt="2022-09-22T07:50:35.511" v="13" actId="47"/>
        <pc:sldMkLst>
          <pc:docMk/>
          <pc:sldMk cId="3627202677" sldId="405"/>
        </pc:sldMkLst>
      </pc:sldChg>
      <pc:sldChg chg="del">
        <pc:chgData name="Xavier Arola" userId="7602816b-230a-426e-8eaf-9f7c32eee040" providerId="ADAL" clId="{CF6C1BE8-E1DF-4D2B-A26B-E419D1D72758}" dt="2022-09-22T07:50:56.687" v="33" actId="47"/>
        <pc:sldMkLst>
          <pc:docMk/>
          <pc:sldMk cId="224608966" sldId="423"/>
        </pc:sldMkLst>
      </pc:sldChg>
      <pc:sldChg chg="del">
        <pc:chgData name="Xavier Arola" userId="7602816b-230a-426e-8eaf-9f7c32eee040" providerId="ADAL" clId="{CF6C1BE8-E1DF-4D2B-A26B-E419D1D72758}" dt="2022-09-22T07:50:28.372" v="3" actId="47"/>
        <pc:sldMkLst>
          <pc:docMk/>
          <pc:sldMk cId="3902415789" sldId="425"/>
        </pc:sldMkLst>
      </pc:sldChg>
      <pc:sldChg chg="del">
        <pc:chgData name="Xavier Arola" userId="7602816b-230a-426e-8eaf-9f7c32eee040" providerId="ADAL" clId="{CF6C1BE8-E1DF-4D2B-A26B-E419D1D72758}" dt="2022-09-22T07:50:36.460" v="14" actId="47"/>
        <pc:sldMkLst>
          <pc:docMk/>
          <pc:sldMk cId="4171584109" sldId="426"/>
        </pc:sldMkLst>
      </pc:sldChg>
      <pc:sldChg chg="del">
        <pc:chgData name="Xavier Arola" userId="7602816b-230a-426e-8eaf-9f7c32eee040" providerId="ADAL" clId="{CF6C1BE8-E1DF-4D2B-A26B-E419D1D72758}" dt="2022-09-22T07:50:37.057" v="15" actId="47"/>
        <pc:sldMkLst>
          <pc:docMk/>
          <pc:sldMk cId="909485821" sldId="427"/>
        </pc:sldMkLst>
      </pc:sldChg>
      <pc:sldChg chg="del">
        <pc:chgData name="Xavier Arola" userId="7602816b-230a-426e-8eaf-9f7c32eee040" providerId="ADAL" clId="{CF6C1BE8-E1DF-4D2B-A26B-E419D1D72758}" dt="2022-09-22T07:50:37.674" v="16" actId="47"/>
        <pc:sldMkLst>
          <pc:docMk/>
          <pc:sldMk cId="1641231639" sldId="428"/>
        </pc:sldMkLst>
      </pc:sldChg>
      <pc:sldChg chg="del">
        <pc:chgData name="Xavier Arola" userId="7602816b-230a-426e-8eaf-9f7c32eee040" providerId="ADAL" clId="{CF6C1BE8-E1DF-4D2B-A26B-E419D1D72758}" dt="2022-09-22T07:50:38.278" v="17" actId="47"/>
        <pc:sldMkLst>
          <pc:docMk/>
          <pc:sldMk cId="1414164454" sldId="429"/>
        </pc:sldMkLst>
      </pc:sldChg>
      <pc:sldChg chg="del">
        <pc:chgData name="Xavier Arola" userId="7602816b-230a-426e-8eaf-9f7c32eee040" providerId="ADAL" clId="{CF6C1BE8-E1DF-4D2B-A26B-E419D1D72758}" dt="2022-09-22T07:50:38.912" v="18" actId="47"/>
        <pc:sldMkLst>
          <pc:docMk/>
          <pc:sldMk cId="430983014" sldId="430"/>
        </pc:sldMkLst>
      </pc:sldChg>
      <pc:sldChg chg="del">
        <pc:chgData name="Xavier Arola" userId="7602816b-230a-426e-8eaf-9f7c32eee040" providerId="ADAL" clId="{CF6C1BE8-E1DF-4D2B-A26B-E419D1D72758}" dt="2022-09-22T07:50:41.077" v="21" actId="47"/>
        <pc:sldMkLst>
          <pc:docMk/>
          <pc:sldMk cId="2469943450" sldId="431"/>
        </pc:sldMkLst>
      </pc:sldChg>
      <pc:sldChg chg="del">
        <pc:chgData name="Xavier Arola" userId="7602816b-230a-426e-8eaf-9f7c32eee040" providerId="ADAL" clId="{CF6C1BE8-E1DF-4D2B-A26B-E419D1D72758}" dt="2022-09-22T07:50:45.027" v="23" actId="47"/>
        <pc:sldMkLst>
          <pc:docMk/>
          <pc:sldMk cId="173080213" sldId="432"/>
        </pc:sldMkLst>
      </pc:sldChg>
      <pc:sldChg chg="del">
        <pc:chgData name="Xavier Arola" userId="7602816b-230a-426e-8eaf-9f7c32eee040" providerId="ADAL" clId="{CF6C1BE8-E1DF-4D2B-A26B-E419D1D72758}" dt="2022-09-22T07:50:49.788" v="29" actId="47"/>
        <pc:sldMkLst>
          <pc:docMk/>
          <pc:sldMk cId="2960447105" sldId="433"/>
        </pc:sldMkLst>
      </pc:sldChg>
      <pc:sldChg chg="del">
        <pc:chgData name="Xavier Arola" userId="7602816b-230a-426e-8eaf-9f7c32eee040" providerId="ADAL" clId="{CF6C1BE8-E1DF-4D2B-A26B-E419D1D72758}" dt="2022-09-22T07:50:46.011" v="24" actId="47"/>
        <pc:sldMkLst>
          <pc:docMk/>
          <pc:sldMk cId="2208015093" sldId="434"/>
        </pc:sldMkLst>
      </pc:sldChg>
      <pc:sldChg chg="del">
        <pc:chgData name="Xavier Arola" userId="7602816b-230a-426e-8eaf-9f7c32eee040" providerId="ADAL" clId="{CF6C1BE8-E1DF-4D2B-A26B-E419D1D72758}" dt="2022-09-22T07:50:46.589" v="25" actId="47"/>
        <pc:sldMkLst>
          <pc:docMk/>
          <pc:sldMk cId="3771259387" sldId="435"/>
        </pc:sldMkLst>
      </pc:sldChg>
      <pc:sldChg chg="del">
        <pc:chgData name="Xavier Arola" userId="7602816b-230a-426e-8eaf-9f7c32eee040" providerId="ADAL" clId="{CF6C1BE8-E1DF-4D2B-A26B-E419D1D72758}" dt="2022-09-22T07:50:30.838" v="6" actId="47"/>
        <pc:sldMkLst>
          <pc:docMk/>
          <pc:sldMk cId="3069714850" sldId="443"/>
        </pc:sldMkLst>
      </pc:sldChg>
      <pc:sldChg chg="del">
        <pc:chgData name="Xavier Arola" userId="7602816b-230a-426e-8eaf-9f7c32eee040" providerId="ADAL" clId="{CF6C1BE8-E1DF-4D2B-A26B-E419D1D72758}" dt="2022-09-22T07:50:32.680" v="9" actId="47"/>
        <pc:sldMkLst>
          <pc:docMk/>
          <pc:sldMk cId="43944590" sldId="444"/>
        </pc:sldMkLst>
      </pc:sldChg>
      <pc:sldChg chg="del">
        <pc:chgData name="Xavier Arola" userId="7602816b-230a-426e-8eaf-9f7c32eee040" providerId="ADAL" clId="{CF6C1BE8-E1DF-4D2B-A26B-E419D1D72758}" dt="2022-09-22T07:50:53.874" v="30" actId="47"/>
        <pc:sldMkLst>
          <pc:docMk/>
          <pc:sldMk cId="2893455423" sldId="452"/>
        </pc:sldMkLst>
      </pc:sldChg>
      <pc:sldChg chg="del">
        <pc:chgData name="Xavier Arola" userId="7602816b-230a-426e-8eaf-9f7c32eee040" providerId="ADAL" clId="{CF6C1BE8-E1DF-4D2B-A26B-E419D1D72758}" dt="2022-09-22T07:50:49.125" v="28" actId="47"/>
        <pc:sldMkLst>
          <pc:docMk/>
          <pc:sldMk cId="3481773225" sldId="459"/>
        </pc:sldMkLst>
      </pc:sldChg>
      <pc:sldChg chg="del">
        <pc:chgData name="Xavier Arola" userId="7602816b-230a-426e-8eaf-9f7c32eee040" providerId="ADAL" clId="{CF6C1BE8-E1DF-4D2B-A26B-E419D1D72758}" dt="2022-09-22T07:50:54.779" v="31" actId="47"/>
        <pc:sldMkLst>
          <pc:docMk/>
          <pc:sldMk cId="1519092698" sldId="460"/>
        </pc:sldMkLst>
      </pc:sldChg>
      <pc:sldChg chg="del">
        <pc:chgData name="Xavier Arola" userId="7602816b-230a-426e-8eaf-9f7c32eee040" providerId="ADAL" clId="{CF6C1BE8-E1DF-4D2B-A26B-E419D1D72758}" dt="2022-09-22T07:50:40.489" v="20" actId="47"/>
        <pc:sldMkLst>
          <pc:docMk/>
          <pc:sldMk cId="1530558930" sldId="461"/>
        </pc:sldMkLst>
      </pc:sldChg>
      <pc:sldChg chg="del">
        <pc:chgData name="Xavier Arola" userId="7602816b-230a-426e-8eaf-9f7c32eee040" providerId="ADAL" clId="{CF6C1BE8-E1DF-4D2B-A26B-E419D1D72758}" dt="2022-09-22T07:50:47.245" v="26" actId="47"/>
        <pc:sldMkLst>
          <pc:docMk/>
          <pc:sldMk cId="163656863" sldId="462"/>
        </pc:sldMkLst>
      </pc:sldChg>
      <pc:sldChg chg="del">
        <pc:chgData name="Xavier Arola" userId="7602816b-230a-426e-8eaf-9f7c32eee040" providerId="ADAL" clId="{CF6C1BE8-E1DF-4D2B-A26B-E419D1D72758}" dt="2022-09-22T07:50:29.158" v="4" actId="47"/>
        <pc:sldMkLst>
          <pc:docMk/>
          <pc:sldMk cId="2672756146" sldId="463"/>
        </pc:sldMkLst>
      </pc:sldChg>
      <pc:sldChg chg="del">
        <pc:chgData name="Xavier Arola" userId="7602816b-230a-426e-8eaf-9f7c32eee040" providerId="ADAL" clId="{CF6C1BE8-E1DF-4D2B-A26B-E419D1D72758}" dt="2022-09-22T07:50:30.046" v="5" actId="47"/>
        <pc:sldMkLst>
          <pc:docMk/>
          <pc:sldMk cId="793700560" sldId="468"/>
        </pc:sldMkLst>
      </pc:sldChg>
    </pc:docChg>
  </pc:docChgLst>
  <pc:docChgLst>
    <pc:chgData name="Alessia Bascucci" userId="S::alessia.bascucci@staff.gbsb.global::30060a76-49dc-4109-a2cf-de678e62ac47" providerId="AD" clId="Web-{87BA7999-2070-29EF-E206-6CED1FF2845D}"/>
    <pc:docChg chg="addSld modSld sldOrd">
      <pc:chgData name="Alessia Bascucci" userId="S::alessia.bascucci@staff.gbsb.global::30060a76-49dc-4109-a2cf-de678e62ac47" providerId="AD" clId="Web-{87BA7999-2070-29EF-E206-6CED1FF2845D}" dt="2023-06-26T14:04:46.800" v="2352" actId="20577"/>
      <pc:docMkLst>
        <pc:docMk/>
      </pc:docMkLst>
      <pc:sldChg chg="addSp delSp modSp">
        <pc:chgData name="Alessia Bascucci" userId="S::alessia.bascucci@staff.gbsb.global::30060a76-49dc-4109-a2cf-de678e62ac47" providerId="AD" clId="Web-{87BA7999-2070-29EF-E206-6CED1FF2845D}" dt="2023-06-26T14:03:35.141" v="2301" actId="1076"/>
        <pc:sldMkLst>
          <pc:docMk/>
          <pc:sldMk cId="2423293804" sldId="449"/>
        </pc:sldMkLst>
        <pc:spChg chg="mod">
          <ac:chgData name="Alessia Bascucci" userId="S::alessia.bascucci@staff.gbsb.global::30060a76-49dc-4109-a2cf-de678e62ac47" providerId="AD" clId="Web-{87BA7999-2070-29EF-E206-6CED1FF2845D}" dt="2023-06-26T11:45:31.108" v="387" actId="1076"/>
          <ac:spMkLst>
            <pc:docMk/>
            <pc:sldMk cId="2423293804" sldId="449"/>
            <ac:spMk id="4" creationId="{C96DD53E-0DF1-459C-A325-AB1131EF82F7}"/>
          </ac:spMkLst>
        </pc:spChg>
        <pc:spChg chg="add mod">
          <ac:chgData name="Alessia Bascucci" userId="S::alessia.bascucci@staff.gbsb.global::30060a76-49dc-4109-a2cf-de678e62ac47" providerId="AD" clId="Web-{87BA7999-2070-29EF-E206-6CED1FF2845D}" dt="2023-06-26T14:03:35.141" v="2301" actId="1076"/>
          <ac:spMkLst>
            <pc:docMk/>
            <pc:sldMk cId="2423293804" sldId="449"/>
            <ac:spMk id="7" creationId="{8B382F56-348D-2B14-6212-A9A504675F8A}"/>
          </ac:spMkLst>
        </pc:spChg>
        <pc:picChg chg="add mod">
          <ac:chgData name="Alessia Bascucci" userId="S::alessia.bascucci@staff.gbsb.global::30060a76-49dc-4109-a2cf-de678e62ac47" providerId="AD" clId="Web-{87BA7999-2070-29EF-E206-6CED1FF2845D}" dt="2023-06-26T11:44:01.996" v="376" actId="1076"/>
          <ac:picMkLst>
            <pc:docMk/>
            <pc:sldMk cId="2423293804" sldId="449"/>
            <ac:picMk id="5" creationId="{95CAA228-0C71-2AC0-8408-743CC2DA7F4F}"/>
          </ac:picMkLst>
        </pc:picChg>
        <pc:picChg chg="del">
          <ac:chgData name="Alessia Bascucci" userId="S::alessia.bascucci@staff.gbsb.global::30060a76-49dc-4109-a2cf-de678e62ac47" providerId="AD" clId="Web-{87BA7999-2070-29EF-E206-6CED1FF2845D}" dt="2023-06-26T11:23:18.366" v="19"/>
          <ac:picMkLst>
            <pc:docMk/>
            <pc:sldMk cId="2423293804" sldId="449"/>
            <ac:picMk id="6" creationId="{E5806179-3969-46B6-966F-400751C1A5C4}"/>
          </ac:picMkLst>
        </pc:picChg>
        <pc:picChg chg="mod">
          <ac:chgData name="Alessia Bascucci" userId="S::alessia.bascucci@staff.gbsb.global::30060a76-49dc-4109-a2cf-de678e62ac47" providerId="AD" clId="Web-{87BA7999-2070-29EF-E206-6CED1FF2845D}" dt="2023-06-26T11:24:10.102" v="21" actId="14100"/>
          <ac:picMkLst>
            <pc:docMk/>
            <pc:sldMk cId="2423293804" sldId="449"/>
            <ac:picMk id="18" creationId="{60EE8EA7-BD80-4CE6-8578-4A6D53B30725}"/>
          </ac:picMkLst>
        </pc:picChg>
      </pc:sldChg>
      <pc:sldChg chg="add ord replId">
        <pc:chgData name="Alessia Bascucci" userId="S::alessia.bascucci@staff.gbsb.global::30060a76-49dc-4109-a2cf-de678e62ac47" providerId="AD" clId="Web-{87BA7999-2070-29EF-E206-6CED1FF2845D}" dt="2023-06-26T11:45:08.670" v="384"/>
        <pc:sldMkLst>
          <pc:docMk/>
          <pc:sldMk cId="2518721500" sldId="451"/>
        </pc:sldMkLst>
      </pc:sldChg>
      <pc:sldChg chg="modSp add replId">
        <pc:chgData name="Alessia Bascucci" userId="S::alessia.bascucci@staff.gbsb.global::30060a76-49dc-4109-a2cf-de678e62ac47" providerId="AD" clId="Web-{87BA7999-2070-29EF-E206-6CED1FF2845D}" dt="2023-06-26T14:04:46.800" v="2352" actId="20577"/>
        <pc:sldMkLst>
          <pc:docMk/>
          <pc:sldMk cId="1005941199" sldId="452"/>
        </pc:sldMkLst>
        <pc:spChg chg="mod">
          <ac:chgData name="Alessia Bascucci" userId="S::alessia.bascucci@staff.gbsb.global::30060a76-49dc-4109-a2cf-de678e62ac47" providerId="AD" clId="Web-{87BA7999-2070-29EF-E206-6CED1FF2845D}" dt="2023-06-26T14:04:46.800" v="2352" actId="20577"/>
          <ac:spMkLst>
            <pc:docMk/>
            <pc:sldMk cId="1005941199" sldId="452"/>
            <ac:spMk id="7" creationId="{8B382F56-348D-2B14-6212-A9A504675F8A}"/>
          </ac:spMkLst>
        </pc:spChg>
      </pc:sldChg>
      <pc:sldChg chg="addSp delSp modSp add ord replId">
        <pc:chgData name="Alessia Bascucci" userId="S::alessia.bascucci@staff.gbsb.global::30060a76-49dc-4109-a2cf-de678e62ac47" providerId="AD" clId="Web-{87BA7999-2070-29EF-E206-6CED1FF2845D}" dt="2023-06-26T14:03:13.453" v="2292" actId="1076"/>
        <pc:sldMkLst>
          <pc:docMk/>
          <pc:sldMk cId="2157024572" sldId="453"/>
        </pc:sldMkLst>
        <pc:spChg chg="mod">
          <ac:chgData name="Alessia Bascucci" userId="S::alessia.bascucci@staff.gbsb.global::30060a76-49dc-4109-a2cf-de678e62ac47" providerId="AD" clId="Web-{87BA7999-2070-29EF-E206-6CED1FF2845D}" dt="2023-06-26T12:55:02.039" v="1100" actId="20577"/>
          <ac:spMkLst>
            <pc:docMk/>
            <pc:sldMk cId="2157024572" sldId="453"/>
            <ac:spMk id="4" creationId="{C96DD53E-0DF1-459C-A325-AB1131EF82F7}"/>
          </ac:spMkLst>
        </pc:spChg>
        <pc:spChg chg="mod">
          <ac:chgData name="Alessia Bascucci" userId="S::alessia.bascucci@staff.gbsb.global::30060a76-49dc-4109-a2cf-de678e62ac47" providerId="AD" clId="Web-{87BA7999-2070-29EF-E206-6CED1FF2845D}" dt="2023-06-26T14:03:13.453" v="2292" actId="1076"/>
          <ac:spMkLst>
            <pc:docMk/>
            <pc:sldMk cId="2157024572" sldId="453"/>
            <ac:spMk id="7" creationId="{8B382F56-348D-2B14-6212-A9A504675F8A}"/>
          </ac:spMkLst>
        </pc:spChg>
        <pc:picChg chg="del">
          <ac:chgData name="Alessia Bascucci" userId="S::alessia.bascucci@staff.gbsb.global::30060a76-49dc-4109-a2cf-de678e62ac47" providerId="AD" clId="Web-{87BA7999-2070-29EF-E206-6CED1FF2845D}" dt="2023-06-26T12:55:02.804" v="1101"/>
          <ac:picMkLst>
            <pc:docMk/>
            <pc:sldMk cId="2157024572" sldId="453"/>
            <ac:picMk id="5" creationId="{95CAA228-0C71-2AC0-8408-743CC2DA7F4F}"/>
          </ac:picMkLst>
        </pc:picChg>
        <pc:picChg chg="add mod">
          <ac:chgData name="Alessia Bascucci" userId="S::alessia.bascucci@staff.gbsb.global::30060a76-49dc-4109-a2cf-de678e62ac47" providerId="AD" clId="Web-{87BA7999-2070-29EF-E206-6CED1FF2845D}" dt="2023-06-26T13:44:12.400" v="1732" actId="1076"/>
          <ac:picMkLst>
            <pc:docMk/>
            <pc:sldMk cId="2157024572" sldId="453"/>
            <ac:picMk id="6" creationId="{EC06E094-DAF6-0D71-3DA3-DEDBF3A874FA}"/>
          </ac:picMkLst>
        </pc:picChg>
        <pc:picChg chg="add mod">
          <ac:chgData name="Alessia Bascucci" userId="S::alessia.bascucci@staff.gbsb.global::30060a76-49dc-4109-a2cf-de678e62ac47" providerId="AD" clId="Web-{87BA7999-2070-29EF-E206-6CED1FF2845D}" dt="2023-06-26T14:03:07.688" v="2291" actId="1076"/>
          <ac:picMkLst>
            <pc:docMk/>
            <pc:sldMk cId="2157024572" sldId="453"/>
            <ac:picMk id="9" creationId="{B7BF874E-3306-88D8-8FB2-BAEEA5DEBE94}"/>
          </ac:picMkLst>
        </pc:picChg>
      </pc:sldChg>
      <pc:sldChg chg="addSp delSp modSp add replId">
        <pc:chgData name="Alessia Bascucci" userId="S::alessia.bascucci@staff.gbsb.global::30060a76-49dc-4109-a2cf-de678e62ac47" providerId="AD" clId="Web-{87BA7999-2070-29EF-E206-6CED1FF2845D}" dt="2023-06-26T14:02:51.358" v="2289" actId="1076"/>
        <pc:sldMkLst>
          <pc:docMk/>
          <pc:sldMk cId="2544755039" sldId="454"/>
        </pc:sldMkLst>
        <pc:spChg chg="mod">
          <ac:chgData name="Alessia Bascucci" userId="S::alessia.bascucci@staff.gbsb.global::30060a76-49dc-4109-a2cf-de678e62ac47" providerId="AD" clId="Web-{87BA7999-2070-29EF-E206-6CED1FF2845D}" dt="2023-06-26T14:02:17.748" v="2283" actId="1076"/>
          <ac:spMkLst>
            <pc:docMk/>
            <pc:sldMk cId="2544755039" sldId="454"/>
            <ac:spMk id="7" creationId="{8B382F56-348D-2B14-6212-A9A504675F8A}"/>
          </ac:spMkLst>
        </pc:spChg>
        <pc:picChg chg="add mod">
          <ac:chgData name="Alessia Bascucci" userId="S::alessia.bascucci@staff.gbsb.global::30060a76-49dc-4109-a2cf-de678e62ac47" providerId="AD" clId="Web-{87BA7999-2070-29EF-E206-6CED1FF2845D}" dt="2023-06-26T14:02:51.358" v="2289" actId="1076"/>
          <ac:picMkLst>
            <pc:docMk/>
            <pc:sldMk cId="2544755039" sldId="454"/>
            <ac:picMk id="5" creationId="{18A2F1D5-14F6-7171-2A2D-9712131F9B3B}"/>
          </ac:picMkLst>
        </pc:picChg>
        <pc:picChg chg="del">
          <ac:chgData name="Alessia Bascucci" userId="S::alessia.bascucci@staff.gbsb.global::30060a76-49dc-4109-a2cf-de678e62ac47" providerId="AD" clId="Web-{87BA7999-2070-29EF-E206-6CED1FF2845D}" dt="2023-06-26T14:02:20.717" v="2284"/>
          <ac:picMkLst>
            <pc:docMk/>
            <pc:sldMk cId="2544755039" sldId="454"/>
            <ac:picMk id="6" creationId="{EC06E094-DAF6-0D71-3DA3-DEDBF3A874FA}"/>
          </ac:picMkLst>
        </pc:picChg>
        <pc:picChg chg="del">
          <ac:chgData name="Alessia Bascucci" userId="S::alessia.bascucci@staff.gbsb.global::30060a76-49dc-4109-a2cf-de678e62ac47" providerId="AD" clId="Web-{87BA7999-2070-29EF-E206-6CED1FF2845D}" dt="2023-06-26T13:46:28.467" v="1734"/>
          <ac:picMkLst>
            <pc:docMk/>
            <pc:sldMk cId="2544755039" sldId="454"/>
            <ac:picMk id="9" creationId="{B7BF874E-3306-88D8-8FB2-BAEEA5DEBE94}"/>
          </ac:picMkLst>
        </pc:picChg>
        <pc:picChg chg="add mod">
          <ac:chgData name="Alessia Bascucci" userId="S::alessia.bascucci@staff.gbsb.global::30060a76-49dc-4109-a2cf-de678e62ac47" providerId="AD" clId="Web-{87BA7999-2070-29EF-E206-6CED1FF2845D}" dt="2023-06-26T14:02:48.936" v="2288" actId="1076"/>
          <ac:picMkLst>
            <pc:docMk/>
            <pc:sldMk cId="2544755039" sldId="454"/>
            <ac:picMk id="10" creationId="{D83EF566-BECC-CB7F-9A3C-2817FA9418B1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B8636D-155D-44E4-A4C6-118CBE8ED44B}" type="datetimeFigureOut">
              <a:rPr lang="es-ES" smtClean="0"/>
              <a:t>26/06/202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17F8E-B589-4507-957E-F73517039C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8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402A46FC-E0A6-4849-A9A1-27499CF76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85405" y="6261264"/>
            <a:ext cx="9144" cy="37185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321D947-E9F2-4156-83AB-FDAF8EFAAD52}"/>
              </a:ext>
            </a:extLst>
          </p:cNvPr>
          <p:cNvSpPr txBox="1"/>
          <p:nvPr userDrawn="1"/>
        </p:nvSpPr>
        <p:spPr>
          <a:xfrm>
            <a:off x="9994549" y="6294567"/>
            <a:ext cx="3643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49AB555-5BA7-4C48-930B-DF75E39B2F06}"/>
              </a:ext>
            </a:extLst>
          </p:cNvPr>
          <p:cNvSpPr txBox="1"/>
          <p:nvPr userDrawn="1"/>
        </p:nvSpPr>
        <p:spPr>
          <a:xfrm>
            <a:off x="7460022" y="6312064"/>
            <a:ext cx="2813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Madrid Campus: C/Numancia, 6 28039 Madrid</a:t>
            </a:r>
          </a:p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Barcelona Campus: C/</a:t>
            </a:r>
            <a:r>
              <a:rPr lang="es-ES" sz="800" err="1">
                <a:latin typeface="Arial" panose="020B0604020202020204" pitchFamily="34" charset="0"/>
                <a:cs typeface="Arial" panose="020B0604020202020204" pitchFamily="34" charset="0"/>
              </a:rPr>
              <a:t>Aragó</a:t>
            </a:r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, 179 08011 Barcelona</a:t>
            </a:r>
            <a:endParaRPr lang="en-GB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020E1B2-7CC9-44E0-9D2F-9893007631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0832" y="6196510"/>
            <a:ext cx="1031529" cy="45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62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9977410-775D-41E1-A1CC-5439A11EE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800301E-41D6-45B7-BA16-AA49EAC8C7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C3490FE-96DD-4FC4-B8E8-9730183D51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50923A2-69C6-4C83-A6DE-03A173C4F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E9EFFB4-79BF-4240-9153-F043A7FE1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4185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8686289-819F-49AA-8DED-7FEE3E4E3F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754D067-A68A-4DC4-A84D-D444BEA558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C05CEEF-3194-4A36-B649-4A0A9CA88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ABC0D1A-8DDC-4990-BA7F-5E20BEE85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BCE478-C962-42E3-B774-DDE049353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385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03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334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97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007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844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168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636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817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BD1383-A146-4EAD-B03B-FF8D856EE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22FB34-34D7-4A13-B956-D882F2907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AF97BC-4AAB-4023-AC61-4763BD322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809D62-D659-4D0A-82AD-4CF49005C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B12030-523B-4C91-9DC0-4F0451296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580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980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914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F5C233-375D-4233-871A-5606010CF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A6B8DDB-C8B1-4030-920E-5F5216DB5A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71CF2C5-9ABB-460B-AF5A-5F52ADA03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03611DC-FB7A-40BB-8E99-D581AA43C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83E7564-63F5-45BD-8CDC-0F811BC76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69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4261AC-7853-46F8-8B21-4BC12B2DB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7851E55-FD7C-4B6B-B691-19293A13D0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34311A7-C3DF-4371-BA98-518132B4F1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CED73A4-1DDE-407D-A591-2A6B188C8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39D44C5-D01A-474F-A7BB-6EAD3B8CE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C3796DA-E9D0-492A-9C9D-0E6AD6E5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963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B79181-543C-4020-8210-DCFE6BA84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5463C83-639F-4BC5-A5EE-346583FDEB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E8FC8F6-D806-4752-AF37-CA35B6E1FA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3BE360F-7BFC-4051-9353-FF0F6A96CB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186232C-D9F6-416B-9230-B2C766F981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A14627-0A09-4E26-B193-F35117435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9D8180A-7C21-4321-8A66-60F0903C3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DDB80743-51B6-40BE-B80A-795F214FA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223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C02903-F8CD-4FFA-8EFA-86AE2C542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2F0A657-D28E-455D-A50A-DBDDA3B06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2CF6CA2-8DE4-4AD9-B0A3-7798BA0F4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BB31DAA-F560-429D-A64B-024A2C667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900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85F70C2-F5F6-4B24-AC9D-7B484694E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EAD4FCF-444A-4664-9782-FA5337FCE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85A5CDD-535A-4FD4-8A54-CD3B9233E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759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3D8C18-9A12-41F5-A511-206F33858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232065-D6A2-4976-BBF7-FD68F11C7F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03C10F5-D7FE-4891-B73A-0B16428425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264862C-AC30-468E-87CC-E8F0D25CE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48D84E8-C21F-48CF-8F39-417DFB607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0230B2-1C0B-4735-B3E8-B2EA1E8CB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432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5990CA-0980-4B2B-80A7-9E3B5AB26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077B3D4-9495-4AC4-93A8-BFAEBFD1C7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5B2C392-A9C9-4D2A-9430-C9E65029CC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DEE7244-730F-4719-9C9D-B12672342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7AD21DC-42D4-4374-99B5-B1FC05D9D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91B9AEA-91F8-4AE6-B81C-0A9317BF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585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123B1D8-F5D6-479C-BB36-9F92DEB94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1ADDC61-3BBB-4EF7-ACCB-4EAA9D5B9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4C4EDB-5CF2-4466-B39B-0197576665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54682-BE6C-44DF-B3A6-20B20BCBE1F8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829C91C-2330-4A96-B3D1-4488C486EB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7965DD6-A58E-463C-8A2D-F50444B49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65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  <p:sldLayoutId id="2147483665" r:id="rId14"/>
    <p:sldLayoutId id="2147483666" r:id="rId15"/>
    <p:sldLayoutId id="2147483672" r:id="rId16"/>
    <p:sldLayoutId id="2147483673" r:id="rId17"/>
    <p:sldLayoutId id="2147483675" r:id="rId18"/>
    <p:sldLayoutId id="2147483677" r:id="rId19"/>
    <p:sldLayoutId id="2147483678" r:id="rId20"/>
    <p:sldLayoutId id="214748367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22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6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730462" y="2712365"/>
            <a:ext cx="9922476" cy="246221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n-US" sz="2000">
                <a:solidFill>
                  <a:srgbClr val="2A2A2A"/>
                </a:solidFill>
                <a:latin typeface="Arial"/>
                <a:cs typeface="Arial"/>
              </a:rPr>
              <a:t>Let’s go to </a:t>
            </a:r>
          </a:p>
          <a:p>
            <a:endParaRPr lang="en-US" sz="2000">
              <a:solidFill>
                <a:srgbClr val="2A2A2A"/>
              </a:solidFill>
              <a:latin typeface="Arial"/>
              <a:cs typeface="Arial"/>
            </a:endParaRPr>
          </a:p>
          <a:p>
            <a:r>
              <a:rPr lang="en-US" sz="2000">
                <a:solidFill>
                  <a:srgbClr val="2A2A2A"/>
                </a:solidFill>
                <a:latin typeface="Arial"/>
                <a:cs typeface="Arial"/>
              </a:rPr>
              <a:t>the </a:t>
            </a:r>
            <a:r>
              <a:rPr lang="en-US" sz="2000" b="1">
                <a:solidFill>
                  <a:srgbClr val="2A2A2A"/>
                </a:solidFill>
                <a:latin typeface="Arial"/>
                <a:cs typeface="Arial"/>
              </a:rPr>
              <a:t>BUYER PERSONA</a:t>
            </a:r>
            <a:r>
              <a:rPr lang="en-US" sz="2000">
                <a:solidFill>
                  <a:srgbClr val="2A2A2A"/>
                </a:solidFill>
                <a:latin typeface="Arial"/>
                <a:cs typeface="Arial"/>
              </a:rPr>
              <a:t> description….</a:t>
            </a:r>
          </a:p>
          <a:p>
            <a:endParaRPr lang="en-US" sz="2000" b="0" i="0">
              <a:solidFill>
                <a:srgbClr val="2A2A2A"/>
              </a:solidFill>
              <a:effectLst/>
              <a:latin typeface="Arial"/>
              <a:cs typeface="Arial"/>
            </a:endParaRPr>
          </a:p>
          <a:p>
            <a:r>
              <a:rPr lang="en-US" sz="2000" b="1">
                <a:solidFill>
                  <a:srgbClr val="2A2A2A"/>
                </a:solidFill>
                <a:latin typeface="Arial"/>
                <a:cs typeface="Arial"/>
              </a:rPr>
              <a:t>B2C</a:t>
            </a:r>
            <a:r>
              <a:rPr lang="en-US" sz="2000">
                <a:solidFill>
                  <a:srgbClr val="2A2A2A"/>
                </a:solidFill>
                <a:latin typeface="Arial"/>
                <a:cs typeface="Arial"/>
              </a:rPr>
              <a:t> Example</a:t>
            </a:r>
            <a:r>
              <a:rPr lang="en-US" b="0" i="0">
                <a:solidFill>
                  <a:srgbClr val="2A2A2A"/>
                </a:solidFill>
                <a:effectLst/>
                <a:latin typeface="Whitney SSm A"/>
              </a:rPr>
              <a:t>				</a:t>
            </a:r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72083AA7-0775-44F2-AEBB-A2D60AADEDE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351" y="1441905"/>
            <a:ext cx="6019800" cy="453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38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</a:t>
            </a:r>
            <a:b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164" y="1755987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332510" y="2712365"/>
            <a:ext cx="1196564" cy="264687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n-US" sz="2000" b="1">
                <a:solidFill>
                  <a:srgbClr val="2A2A2A"/>
                </a:solidFill>
                <a:latin typeface="Arial"/>
                <a:cs typeface="Arial"/>
              </a:rPr>
              <a:t>B2C</a:t>
            </a:r>
            <a:r>
              <a:rPr lang="en-US" sz="2000">
                <a:solidFill>
                  <a:srgbClr val="2A2A2A"/>
                </a:solidFill>
                <a:latin typeface="Arial"/>
                <a:cs typeface="Arial"/>
              </a:rPr>
              <a:t> Example</a:t>
            </a:r>
            <a:r>
              <a:rPr lang="en-US" b="0" i="0">
                <a:solidFill>
                  <a:srgbClr val="2A2A2A"/>
                </a:solidFill>
                <a:effectLst/>
                <a:latin typeface="Whitney SSm A"/>
              </a:rPr>
              <a:t>				</a:t>
            </a:r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5806179-3969-46B6-966F-400751C1A5C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4836" y="0"/>
            <a:ext cx="91338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7215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</a:t>
            </a:r>
            <a:b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164" y="1755987"/>
            <a:ext cx="7313341" cy="55011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3742925" y="277683"/>
            <a:ext cx="5434026" cy="15388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n-US" sz="2000" b="1" dirty="0">
                <a:solidFill>
                  <a:srgbClr val="2A2A2A"/>
                </a:solidFill>
                <a:latin typeface="Arial"/>
                <a:cs typeface="Arial"/>
              </a:rPr>
              <a:t>G-Accelerator Buyer Persona</a:t>
            </a:r>
          </a:p>
          <a:p>
            <a:r>
              <a:rPr lang="en-US" sz="2000" b="1" dirty="0">
                <a:solidFill>
                  <a:srgbClr val="2A2A2A"/>
                </a:solidFill>
                <a:latin typeface="Arial"/>
                <a:cs typeface="Arial"/>
              </a:rPr>
              <a:t>B2C</a:t>
            </a:r>
            <a:r>
              <a:rPr lang="en-US" sz="2000" dirty="0">
                <a:solidFill>
                  <a:srgbClr val="2A2A2A"/>
                </a:solidFill>
                <a:latin typeface="Arial"/>
                <a:cs typeface="Arial"/>
              </a:rPr>
              <a:t> Example</a:t>
            </a:r>
            <a:r>
              <a:rPr lang="en-US" b="0" i="0" dirty="0">
                <a:solidFill>
                  <a:srgbClr val="2A2A2A"/>
                </a:solidFill>
                <a:effectLst/>
                <a:latin typeface="Whitney SSm A"/>
              </a:rPr>
              <a:t>				</a:t>
            </a:r>
            <a:endParaRPr lang="es-ES" dirty="0">
              <a:ea typeface="Calibri"/>
              <a:cs typeface="Calibri"/>
            </a:endParaRPr>
          </a:p>
          <a:p>
            <a:endParaRPr lang="es-ES"/>
          </a:p>
          <a:p>
            <a:endParaRPr lang="es-ES"/>
          </a:p>
        </p:txBody>
      </p:sp>
      <p:pic>
        <p:nvPicPr>
          <p:cNvPr id="5" name="Imagen 6" descr="Mujer usando laptop en la mesa&#10;&#10;Descripción generada automáticamente">
            <a:extLst>
              <a:ext uri="{FF2B5EF4-FFF2-40B4-BE49-F238E27FC236}">
                <a16:creationId xmlns:a16="http://schemas.microsoft.com/office/drawing/2014/main" id="{95CAA228-0C71-2AC0-8408-743CC2DA7F4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4620" y="3202335"/>
            <a:ext cx="3588834" cy="2339745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8B382F56-348D-2B14-6212-A9A504675F8A}"/>
              </a:ext>
            </a:extLst>
          </p:cNvPr>
          <p:cNvSpPr txBox="1"/>
          <p:nvPr/>
        </p:nvSpPr>
        <p:spPr>
          <a:xfrm>
            <a:off x="3965949" y="1783096"/>
            <a:ext cx="7552758" cy="72481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1100" dirty="0">
              <a:ea typeface="Calibri"/>
              <a:cs typeface="Calibri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BACKGROUND: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Linda 27 years old</a:t>
            </a:r>
            <a:endParaRPr lang="en-US" dirty="0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French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Currently living in BCN 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Full time Student at </a:t>
            </a: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GBSB Global Business School’s Master in Business Innovation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She speaks English and French and is taking Spanish classes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FINANCE:</a:t>
            </a:r>
            <a:endParaRPr lang="en-US" dirty="0"/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Doesn't have a direct income, her parents are paying her studies and living in BCN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She would like to start a part time job to get her living cost abroad covered to stay here after her studies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IFESTYLE: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She likes hanging out with her friends and discover new places in Catalonia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She is passionate about travel and cultural activitie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She is actively part of Meet ups group for </a:t>
            </a:r>
            <a:r>
              <a:rPr lang="en-US" sz="1100" b="1" dirty="0" err="1">
                <a:solidFill>
                  <a:srgbClr val="2A2A2A"/>
                </a:solidFill>
                <a:latin typeface="Arial"/>
                <a:ea typeface="Calibri"/>
                <a:cs typeface="Arial"/>
              </a:rPr>
              <a:t>expath</a:t>
            </a: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 in BCN to meet new people in town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WHAT SHE IS LOOKING FOR: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She would like to find the opportunity to stay in BCN after her studie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During her studies, she has been working on a business idea that she believe have a good potential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She needs support to develop it in the right way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Recently, she discovered about the G-Accelerator program offered by her Business School and would like to give it a try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s-ES">
              <a:ea typeface="Calibri"/>
              <a:cs typeface="Calibri"/>
            </a:endParaRPr>
          </a:p>
          <a:p>
            <a:endParaRPr lang="es-E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32938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</a:t>
            </a:r>
            <a:b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164" y="1755987"/>
            <a:ext cx="7313341" cy="55011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3742925" y="277683"/>
            <a:ext cx="5434026" cy="15388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n-US" sz="2000" b="1" dirty="0">
                <a:solidFill>
                  <a:srgbClr val="2A2A2A"/>
                </a:solidFill>
                <a:latin typeface="Arial"/>
                <a:cs typeface="Arial"/>
              </a:rPr>
              <a:t>G-Accelerator Buyer Persona</a:t>
            </a:r>
          </a:p>
          <a:p>
            <a:r>
              <a:rPr lang="en-US" sz="2000" b="1" dirty="0">
                <a:solidFill>
                  <a:srgbClr val="2A2A2A"/>
                </a:solidFill>
                <a:latin typeface="Arial"/>
                <a:cs typeface="Arial"/>
              </a:rPr>
              <a:t>B2C</a:t>
            </a:r>
            <a:r>
              <a:rPr lang="en-US" sz="2000" dirty="0">
                <a:solidFill>
                  <a:srgbClr val="2A2A2A"/>
                </a:solidFill>
                <a:latin typeface="Arial"/>
                <a:cs typeface="Arial"/>
              </a:rPr>
              <a:t> Example</a:t>
            </a:r>
            <a:r>
              <a:rPr lang="en-US" b="0" i="0" dirty="0">
                <a:solidFill>
                  <a:srgbClr val="2A2A2A"/>
                </a:solidFill>
                <a:effectLst/>
                <a:latin typeface="Whitney SSm A"/>
              </a:rPr>
              <a:t>				</a:t>
            </a:r>
            <a:endParaRPr lang="es-ES" dirty="0">
              <a:ea typeface="Calibri"/>
              <a:cs typeface="Calibri"/>
            </a:endParaRPr>
          </a:p>
          <a:p>
            <a:endParaRPr lang="es-ES"/>
          </a:p>
          <a:p>
            <a:endParaRPr lang="es-ES"/>
          </a:p>
        </p:txBody>
      </p:sp>
      <p:pic>
        <p:nvPicPr>
          <p:cNvPr id="5" name="Imagen 6" descr="Mujer usando laptop en la mesa&#10;&#10;Descripción generada automáticamente">
            <a:extLst>
              <a:ext uri="{FF2B5EF4-FFF2-40B4-BE49-F238E27FC236}">
                <a16:creationId xmlns:a16="http://schemas.microsoft.com/office/drawing/2014/main" id="{95CAA228-0C71-2AC0-8408-743CC2DA7F4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4620" y="3202335"/>
            <a:ext cx="3588834" cy="2339745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8B382F56-348D-2B14-6212-A9A504675F8A}"/>
              </a:ext>
            </a:extLst>
          </p:cNvPr>
          <p:cNvSpPr txBox="1"/>
          <p:nvPr/>
        </p:nvSpPr>
        <p:spPr>
          <a:xfrm>
            <a:off x="4467754" y="2991145"/>
            <a:ext cx="7552758" cy="62324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1100" dirty="0">
              <a:ea typeface="Calibri"/>
              <a:cs typeface="Calibri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HOPES AND DREAMS: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To work full time on her Tourism and Hospitality business idea and make it a reality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Open up the first branch of her business in Barcelona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That her business will be very successful and expand worldwide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To make a high revenue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Start to travel in here favorites spots she found in IG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WORRRIES AND FEARS:</a:t>
            </a:r>
            <a:endParaRPr lang="en-US" dirty="0"/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Do not find the right support to develop the busines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egal impediment to set up a business as a foreign in Spain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ack of finance to develop the busines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Be alone in the project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oosing Motivation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Have to return to France after her studies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s-ES">
              <a:ea typeface="Calibri"/>
              <a:cs typeface="Calibri"/>
            </a:endParaRPr>
          </a:p>
          <a:p>
            <a:endParaRPr lang="es-E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5941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</a:t>
            </a:r>
            <a:b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164" y="1755987"/>
            <a:ext cx="7313341" cy="55011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3742925" y="277683"/>
            <a:ext cx="5434026" cy="15388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n-US" sz="2000" b="1" dirty="0">
                <a:solidFill>
                  <a:srgbClr val="2A2A2A"/>
                </a:solidFill>
                <a:latin typeface="Arial"/>
                <a:cs typeface="Arial"/>
              </a:rPr>
              <a:t>G-Accelerator Buyer Persona</a:t>
            </a:r>
          </a:p>
          <a:p>
            <a:r>
              <a:rPr lang="en-US" sz="2000" b="1" dirty="0">
                <a:solidFill>
                  <a:srgbClr val="2A2A2A"/>
                </a:solidFill>
                <a:latin typeface="Arial"/>
                <a:cs typeface="Arial"/>
              </a:rPr>
              <a:t>B2B</a:t>
            </a:r>
            <a:r>
              <a:rPr lang="en-US" sz="2000" dirty="0">
                <a:solidFill>
                  <a:srgbClr val="2A2A2A"/>
                </a:solidFill>
                <a:latin typeface="Arial"/>
                <a:cs typeface="Arial"/>
              </a:rPr>
              <a:t> Example</a:t>
            </a:r>
            <a:r>
              <a:rPr lang="en-US" b="0" i="0" dirty="0">
                <a:solidFill>
                  <a:srgbClr val="2A2A2A"/>
                </a:solidFill>
                <a:effectLst/>
                <a:latin typeface="Whitney SSm A"/>
              </a:rPr>
              <a:t>				</a:t>
            </a:r>
            <a:endParaRPr lang="es-ES" dirty="0">
              <a:ea typeface="Calibri"/>
              <a:cs typeface="Calibri"/>
            </a:endParaRPr>
          </a:p>
          <a:p>
            <a:endParaRPr lang="es-ES"/>
          </a:p>
          <a:p>
            <a:endParaRPr lang="es-ES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B382F56-348D-2B14-6212-A9A504675F8A}"/>
              </a:ext>
            </a:extLst>
          </p:cNvPr>
          <p:cNvSpPr txBox="1"/>
          <p:nvPr/>
        </p:nvSpPr>
        <p:spPr>
          <a:xfrm>
            <a:off x="3287583" y="1810974"/>
            <a:ext cx="7552758" cy="75866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1100" dirty="0">
              <a:ea typeface="Calibri"/>
              <a:cs typeface="Calibri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BACKGROUND: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James Scott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Managing Director at UNSW Business School in BCN</a:t>
            </a:r>
            <a:endParaRPr lang="en-US" dirty="0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45 years old from Manchester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Currently living in BCN with his family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BUSINESS PROFILE:</a:t>
            </a:r>
            <a:endParaRPr lang="en-US" dirty="0"/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MBA in Business Operation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Working in the Business Education industry from 5 year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Previous experience as a Managing Director in Business Development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Decision maker, Member of the Board, Sales driven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BUSINESS GOALS: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To expand the presence of the Business School in Spain within an international student community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Increase annual revenue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Be more competitive towards other business schools and achieve better international ranking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Provide new range of services to Students related to Entrepreneurship and Business Innovation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Create an in-house accelerator program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CHALLENGES: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ack of internal resources to develop new range of service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ack of previous experience developing accelerator program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Have a proper program running for the upcoming term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ack of network within the field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s-ES">
              <a:ea typeface="Calibri"/>
              <a:cs typeface="Calibri"/>
            </a:endParaRPr>
          </a:p>
          <a:p>
            <a:endParaRPr lang="es-ES">
              <a:ea typeface="Calibri"/>
              <a:cs typeface="Calibri"/>
            </a:endParaRPr>
          </a:p>
        </p:txBody>
      </p:sp>
      <p:pic>
        <p:nvPicPr>
          <p:cNvPr id="6" name="Imagen 8" descr="Una estación de tren&#10;&#10;Descripción generada automáticamente">
            <a:extLst>
              <a:ext uri="{FF2B5EF4-FFF2-40B4-BE49-F238E27FC236}">
                <a16:creationId xmlns:a16="http://schemas.microsoft.com/office/drawing/2014/main" id="{EC06E094-DAF6-0D71-3DA3-DEDBF3A874F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06107" y="1291781"/>
            <a:ext cx="2891883" cy="1979145"/>
          </a:xfrm>
          <a:prstGeom prst="rect">
            <a:avLst/>
          </a:prstGeom>
        </p:spPr>
      </p:pic>
      <p:pic>
        <p:nvPicPr>
          <p:cNvPr id="9" name="Imagen 9" descr="Un hombre con traje y corbata&#10;&#10;Descripción generada automáticamente">
            <a:extLst>
              <a:ext uri="{FF2B5EF4-FFF2-40B4-BE49-F238E27FC236}">
                <a16:creationId xmlns:a16="http://schemas.microsoft.com/office/drawing/2014/main" id="{B7BF874E-3306-88D8-8FB2-BAEEA5DEBE9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4717" y="2733063"/>
            <a:ext cx="2743200" cy="2785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0245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</a:t>
            </a:r>
            <a:b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164" y="1755987"/>
            <a:ext cx="7313341" cy="55011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3742925" y="277683"/>
            <a:ext cx="5434026" cy="15388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n-US" sz="2000" b="1" dirty="0">
                <a:solidFill>
                  <a:srgbClr val="2A2A2A"/>
                </a:solidFill>
                <a:latin typeface="Arial"/>
                <a:cs typeface="Arial"/>
              </a:rPr>
              <a:t>G-Accelerator Buyer Persona</a:t>
            </a:r>
          </a:p>
          <a:p>
            <a:r>
              <a:rPr lang="en-US" sz="2000" b="1" dirty="0">
                <a:solidFill>
                  <a:srgbClr val="2A2A2A"/>
                </a:solidFill>
                <a:latin typeface="Arial"/>
                <a:cs typeface="Arial"/>
              </a:rPr>
              <a:t>B2B</a:t>
            </a:r>
            <a:r>
              <a:rPr lang="en-US" sz="2000" dirty="0">
                <a:solidFill>
                  <a:srgbClr val="2A2A2A"/>
                </a:solidFill>
                <a:latin typeface="Arial"/>
                <a:cs typeface="Arial"/>
              </a:rPr>
              <a:t> Example</a:t>
            </a:r>
            <a:r>
              <a:rPr lang="en-US" b="0" i="0" dirty="0">
                <a:solidFill>
                  <a:srgbClr val="2A2A2A"/>
                </a:solidFill>
                <a:effectLst/>
                <a:latin typeface="Whitney SSm A"/>
              </a:rPr>
              <a:t>				</a:t>
            </a:r>
            <a:endParaRPr lang="es-ES" dirty="0">
              <a:ea typeface="Calibri"/>
              <a:cs typeface="Calibri"/>
            </a:endParaRPr>
          </a:p>
          <a:p>
            <a:endParaRPr lang="es-ES"/>
          </a:p>
          <a:p>
            <a:endParaRPr lang="es-ES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B382F56-348D-2B14-6212-A9A504675F8A}"/>
              </a:ext>
            </a:extLst>
          </p:cNvPr>
          <p:cNvSpPr txBox="1"/>
          <p:nvPr/>
        </p:nvSpPr>
        <p:spPr>
          <a:xfrm>
            <a:off x="3649998" y="1755218"/>
            <a:ext cx="7552758" cy="74174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1100" dirty="0">
              <a:ea typeface="Calibri"/>
              <a:cs typeface="Calibri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BACKGROUND: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Agustí Font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Project Manager at IRTA </a:t>
            </a:r>
            <a:endParaRPr lang="en-US" dirty="0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65 years old from Manresa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Currently living in BCN with his family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BUSINESS PROFILE:</a:t>
            </a:r>
            <a:endParaRPr lang="en-US" dirty="0"/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cs typeface="Arial"/>
              </a:rPr>
              <a:t>25 years of experience working for the public sector</a:t>
            </a:r>
            <a:endParaRPr lang="en-US" dirty="0"/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More than 10 years working at IRTA in the Technology Transfer Department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Middle Management, not final decision maker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He likes well-structured procedures and project management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People Oriented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BUSINESS GOALS: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To help small-medium businesses from the local agriculture sector to be more competitive and sustainable by using technology and business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Increase number of local technological projects supported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Expand opportunities in the territory by making more business interactions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CHALLENGES:</a:t>
            </a: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Difficulties in supporting projects with no business background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ack of interest by researcher in learning business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ack of previous experience developing accelerator program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2A2A2A"/>
                </a:solidFill>
                <a:latin typeface="Arial"/>
                <a:ea typeface="Calibri"/>
                <a:cs typeface="Arial"/>
              </a:rPr>
              <a:t>Lack of internal resources and time to create ad hoc business support services</a:t>
            </a: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n-US" sz="1100" b="1" dirty="0">
              <a:solidFill>
                <a:srgbClr val="2A2A2A"/>
              </a:solidFill>
              <a:latin typeface="Arial"/>
              <a:ea typeface="Calibri"/>
              <a:cs typeface="Arial"/>
            </a:endParaRPr>
          </a:p>
          <a:p>
            <a:endParaRPr lang="es-ES">
              <a:ea typeface="Calibri"/>
              <a:cs typeface="Calibri"/>
            </a:endParaRPr>
          </a:p>
          <a:p>
            <a:endParaRPr lang="es-ES">
              <a:ea typeface="Calibri"/>
              <a:cs typeface="Calibri"/>
            </a:endParaRPr>
          </a:p>
        </p:txBody>
      </p:sp>
      <p:pic>
        <p:nvPicPr>
          <p:cNvPr id="5" name="Imagen 9">
            <a:extLst>
              <a:ext uri="{FF2B5EF4-FFF2-40B4-BE49-F238E27FC236}">
                <a16:creationId xmlns:a16="http://schemas.microsoft.com/office/drawing/2014/main" id="{18A2F1D5-14F6-7171-2A2D-9712131F9B3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400" y="2539520"/>
            <a:ext cx="2743200" cy="2801155"/>
          </a:xfrm>
          <a:prstGeom prst="rect">
            <a:avLst/>
          </a:prstGeom>
        </p:spPr>
      </p:pic>
      <p:pic>
        <p:nvPicPr>
          <p:cNvPr id="10" name="Imagen 10">
            <a:extLst>
              <a:ext uri="{FF2B5EF4-FFF2-40B4-BE49-F238E27FC236}">
                <a16:creationId xmlns:a16="http://schemas.microsoft.com/office/drawing/2014/main" id="{D83EF566-BECC-CB7F-9A3C-2817FA9418B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83912" y="1677289"/>
            <a:ext cx="3756102" cy="85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7550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19909" y="3293892"/>
            <a:ext cx="9922476" cy="12926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n-US" sz="2400" b="1">
                <a:solidFill>
                  <a:srgbClr val="2A2A2A"/>
                </a:solidFill>
                <a:latin typeface="Arial"/>
                <a:cs typeface="Arial"/>
              </a:rPr>
              <a:t>B2B Example</a:t>
            </a:r>
            <a:r>
              <a:rPr lang="en-US" sz="2400" b="1" i="0">
                <a:solidFill>
                  <a:srgbClr val="2A2A2A"/>
                </a:solidFill>
                <a:effectLst/>
                <a:latin typeface="Arial"/>
                <a:cs typeface="Arial"/>
              </a:rPr>
              <a:t>				</a:t>
            </a:r>
            <a:endParaRPr lang="es-ES" sz="2400">
              <a:latin typeface="Arial"/>
              <a:cs typeface="Arial"/>
            </a:endParaRPr>
          </a:p>
          <a:p>
            <a:endParaRPr lang="es-ES"/>
          </a:p>
          <a:p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81AFE28-3E3D-45A7-9A78-39746D3CAB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5742" y="1422573"/>
            <a:ext cx="9360008" cy="5021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4347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168876" y="731325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</a:t>
            </a:r>
            <a:b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595349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19909" y="3293892"/>
            <a:ext cx="9922476" cy="12926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n-US" sz="2400" b="1">
                <a:solidFill>
                  <a:srgbClr val="2A2A2A"/>
                </a:solidFill>
                <a:latin typeface="Arial"/>
                <a:cs typeface="Arial"/>
              </a:rPr>
              <a:t>B2B Example</a:t>
            </a:r>
            <a:r>
              <a:rPr lang="en-US" sz="2400" b="1" i="0">
                <a:solidFill>
                  <a:srgbClr val="2A2A2A"/>
                </a:solidFill>
                <a:effectLst/>
                <a:latin typeface="Arial"/>
                <a:cs typeface="Arial"/>
              </a:rPr>
              <a:t>				</a:t>
            </a:r>
            <a:endParaRPr lang="es-ES" sz="2400">
              <a:latin typeface="Arial"/>
              <a:cs typeface="Arial"/>
            </a:endParaRPr>
          </a:p>
          <a:p>
            <a:endParaRPr lang="es-ES"/>
          </a:p>
          <a:p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F607F883-8061-462E-B30C-C303AEB3AB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2768" y="230685"/>
            <a:ext cx="9130356" cy="5878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8563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pportunity analysis ppt 1" id="{34C05EFA-C261-A84D-B935-9AFCBD159EE1}" vid="{C2A0FA48-17F3-C446-BDF7-1C4A8EAFE4BE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EF37DF7B81F44EBF315C4882E70794" ma:contentTypeVersion="14" ma:contentTypeDescription="Crea un document nou" ma:contentTypeScope="" ma:versionID="f90c47eb7e3f6a588459d080307382aa">
  <xsd:schema xmlns:xsd="http://www.w3.org/2001/XMLSchema" xmlns:xs="http://www.w3.org/2001/XMLSchema" xmlns:p="http://schemas.microsoft.com/office/2006/metadata/properties" xmlns:ns2="6847104e-379b-4806-ac2b-ec39a5e4fc8e" xmlns:ns3="ff89c1a9-ab0d-4b15-8824-e62a8110aa5c" targetNamespace="http://schemas.microsoft.com/office/2006/metadata/properties" ma:root="true" ma:fieldsID="6fa92402cc23000a80ee2de2ec171ffb" ns2:_="" ns3:_="">
    <xsd:import namespace="6847104e-379b-4806-ac2b-ec39a5e4fc8e"/>
    <xsd:import namespace="ff89c1a9-ab0d-4b15-8824-e62a8110aa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47104e-379b-4806-ac2b-ec39a5e4fc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Etiquetes de la imatge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89c1a9-ab0d-4b15-8824-e62a8110aa5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94ef3a5-d400-4c39-a051-e59526feca85}" ma:internalName="TaxCatchAll" ma:showField="CatchAllData" ma:web="ff89c1a9-ab0d-4b15-8824-e62a8110aa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847104e-379b-4806-ac2b-ec39a5e4fc8e">
      <Terms xmlns="http://schemas.microsoft.com/office/infopath/2007/PartnerControls"/>
    </lcf76f155ced4ddcb4097134ff3c332f>
    <TaxCatchAll xmlns="ff89c1a9-ab0d-4b15-8824-e62a8110aa5c" xsi:nil="true"/>
  </documentManagement>
</p:properties>
</file>

<file path=customXml/itemProps1.xml><?xml version="1.0" encoding="utf-8"?>
<ds:datastoreItem xmlns:ds="http://schemas.openxmlformats.org/officeDocument/2006/customXml" ds:itemID="{8DD54C75-B314-40FC-B01C-81D2B7D7B6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0C1A167-6750-4870-AA9D-55DD27133C76}">
  <ds:schemaRefs>
    <ds:schemaRef ds:uri="6847104e-379b-4806-ac2b-ec39a5e4fc8e"/>
    <ds:schemaRef ds:uri="ff89c1a9-ab0d-4b15-8824-e62a8110aa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078861C-BD5D-45C5-813E-386AF21E84E9}">
  <ds:schemaRefs>
    <ds:schemaRef ds:uri="6847104e-379b-4806-ac2b-ec39a5e4fc8e"/>
    <ds:schemaRef ds:uri="fac5c5d6-3f40-4888-827f-2feba602e379"/>
    <ds:schemaRef ds:uri="ff89c1a9-ab0d-4b15-8824-e62a8110aa5c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pportunity analysis ppt 1</Template>
  <TotalTime>205</TotalTime>
  <Words>43</Words>
  <Application>Microsoft Office PowerPoint</Application>
  <PresentationFormat>Panorámica</PresentationFormat>
  <Paragraphs>16</Paragraphs>
  <Slides>8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9" baseType="lpstr">
      <vt:lpstr>Tema de Office</vt:lpstr>
      <vt:lpstr>Opportunity Analysis</vt:lpstr>
      <vt:lpstr>Opportunity  Analysis</vt:lpstr>
      <vt:lpstr>Opportunity  Analysis</vt:lpstr>
      <vt:lpstr>Opportunity  Analysis</vt:lpstr>
      <vt:lpstr>Opportunity  Analysis</vt:lpstr>
      <vt:lpstr>Opportunity  Analysis</vt:lpstr>
      <vt:lpstr>Opportunity Analysis</vt:lpstr>
      <vt:lpstr>Opportunity  Analys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Xavier Arola</dc:creator>
  <cp:lastModifiedBy>Xavier Arola</cp:lastModifiedBy>
  <cp:revision>423</cp:revision>
  <dcterms:created xsi:type="dcterms:W3CDTF">2022-06-14T08:44:01Z</dcterms:created>
  <dcterms:modified xsi:type="dcterms:W3CDTF">2023-06-26T14:0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EF37DF7B81F44EBF315C4882E70794</vt:lpwstr>
  </property>
  <property fmtid="{D5CDD505-2E9C-101B-9397-08002B2CF9AE}" pid="3" name="MediaServiceImageTags">
    <vt:lpwstr/>
  </property>
</Properties>
</file>